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media/image57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52" r:id="rId1"/>
  </p:sldMasterIdLst>
  <p:notesMasterIdLst>
    <p:notesMasterId r:id="rId20"/>
  </p:notesMasterIdLst>
  <p:sldIdLst>
    <p:sldId id="256" r:id="rId2"/>
    <p:sldId id="271" r:id="rId3"/>
    <p:sldId id="272" r:id="rId4"/>
    <p:sldId id="273" r:id="rId5"/>
    <p:sldId id="283" r:id="rId6"/>
    <p:sldId id="260" r:id="rId7"/>
    <p:sldId id="287" r:id="rId8"/>
    <p:sldId id="275" r:id="rId9"/>
    <p:sldId id="266" r:id="rId10"/>
    <p:sldId id="291" r:id="rId11"/>
    <p:sldId id="292" r:id="rId12"/>
    <p:sldId id="288" r:id="rId13"/>
    <p:sldId id="286" r:id="rId14"/>
    <p:sldId id="265" r:id="rId15"/>
    <p:sldId id="284" r:id="rId16"/>
    <p:sldId id="285" r:id="rId17"/>
    <p:sldId id="270" r:id="rId18"/>
    <p:sldId id="282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rface" initials="S" lastIdx="3" clrIdx="0"/>
  <p:cmAuthor id="2" name="玥 王" initials="玥" lastIdx="1" clrIdx="1">
    <p:extLst>
      <p:ext uri="{19B8F6BF-5375-455C-9EA6-DF929625EA0E}">
        <p15:presenceInfo xmlns:p15="http://schemas.microsoft.com/office/powerpoint/2012/main" userId="a64068408eb2841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1A9C1"/>
    <a:srgbClr val="4BACC6"/>
    <a:srgbClr val="7A6495"/>
    <a:srgbClr val="D7DA8D"/>
    <a:srgbClr val="C6B5D7"/>
    <a:srgbClr val="FEEFB7"/>
    <a:srgbClr val="DAEBD8"/>
    <a:srgbClr val="ABD2E1"/>
    <a:srgbClr val="E2EBB4"/>
    <a:srgbClr val="F2E1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>
        <p:guide orient="horz" pos="2160"/>
        <p:guide pos="3808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2" d="100"/>
          <a:sy n="92" d="100"/>
        </p:scale>
        <p:origin x="255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1E042-E7FA-4303-AD84-8AA835242CEF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DD556-94CC-4535-BF9D-A7F682A58C8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784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BB0826-2EB1-4BF9-BE4F-84320B4C1716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383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1430" imgH="11430" progId="TCLayout.ActiveDocument.1">
                  <p:embed/>
                </p:oleObj>
              </mc:Choice>
              <mc:Fallback>
                <p:oleObj name="think-cell 幻灯片" r:id="rId3" imgW="11430" imgH="1143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AC1B7B3F-A56B-4310-A966-BD55D80449F1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3127340-2293-49D2-96F1-6E7BF0C8FD9C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8C3DCC-FA68-2343-F4AE-B68DE33C64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00EF6DE-F34E-89EA-9231-9370B2276E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7BC40D5-D22A-C924-FF6B-B07D647C6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FEF45-8EDA-43CC-AB5F-967B9DF34B31}" type="datetimeFigureOut">
              <a:rPr lang="zh-CN" altLang="en-US" smtClean="0"/>
              <a:t>2022/12/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518AA39-EA83-3A0D-39E8-27B02902D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651942D-4AED-FACD-1B48-150170E0B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84B019-CD58-46C0-B515-BB815B9FCE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9488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" imgW="11430" imgH="11430" progId="TCLayout.ActiveDocument.1">
                  <p:embed/>
                </p:oleObj>
              </mc:Choice>
              <mc:Fallback>
                <p:oleObj name="think-cell 幻灯片" r:id="rId7" imgW="11430" imgH="1143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 descr="宽客进化1-ai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02559" y="343298"/>
            <a:ext cx="1584641" cy="373934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0288269" y="604775"/>
            <a:ext cx="1584641" cy="3999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sz="900" b="1" dirty="0">
                <a:solidFill>
                  <a:srgbClr val="755E81"/>
                </a:solidFill>
              </a:rPr>
              <a:t>北京宽客进化科技有限公司</a:t>
            </a:r>
          </a:p>
        </p:txBody>
      </p:sp>
      <p:sp>
        <p:nvSpPr>
          <p:cNvPr id="10" name="文本框 9"/>
          <p:cNvSpPr txBox="1"/>
          <p:nvPr userDrawn="1"/>
        </p:nvSpPr>
        <p:spPr>
          <a:xfrm>
            <a:off x="9398726" y="6514702"/>
            <a:ext cx="2793274" cy="2845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i="1" dirty="0">
                <a:solidFill>
                  <a:srgbClr val="755E81"/>
                </a:solidFill>
              </a:rPr>
              <a:t>Accelerating AI With </a:t>
            </a:r>
            <a:r>
              <a:rPr lang="en-US" altLang="zh-CN" sz="1200" i="1" dirty="0">
                <a:solidFill>
                  <a:srgbClr val="755E81"/>
                </a:solidFill>
              </a:rPr>
              <a:t>Data Intelligence</a:t>
            </a:r>
            <a:endParaRPr lang="zh-CN" altLang="en-US" sz="1200" i="1" dirty="0">
              <a:solidFill>
                <a:srgbClr val="755E8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060"/>
          </a:solidFill>
          <a:latin typeface="+mj-ea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8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47D23E21-7944-58A2-38FB-FF506BE010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30616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21F30B8A-3514-AEA4-BB38-B9ADFCB84E67}"/>
              </a:ext>
            </a:extLst>
          </p:cNvPr>
          <p:cNvSpPr/>
          <p:nvPr/>
        </p:nvSpPr>
        <p:spPr>
          <a:xfrm>
            <a:off x="69466" y="338805"/>
            <a:ext cx="12188158" cy="7621588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zh-CN" sz="1800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9">
            <a:extLst>
              <a:ext uri="{FF2B5EF4-FFF2-40B4-BE49-F238E27FC236}">
                <a16:creationId xmlns:a16="http://schemas.microsoft.com/office/drawing/2014/main" id="{42BF61A4-B845-4935-8289-FD61C4E37BFE}"/>
              </a:ext>
            </a:extLst>
          </p:cNvPr>
          <p:cNvSpPr txBox="1"/>
          <p:nvPr/>
        </p:nvSpPr>
        <p:spPr>
          <a:xfrm>
            <a:off x="116140" y="180319"/>
            <a:ext cx="2864887" cy="49244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t">
            <a:spAutoFit/>
          </a:bodyPr>
          <a:lstStyle/>
          <a:p>
            <a:r>
              <a:rPr lang="zh-CN" altLang="en-US" sz="1200" b="1" u="sng" dirty="0">
                <a:solidFill>
                  <a:schemeClr val="bg1"/>
                </a:solidFill>
                <a:latin typeface="微软雅黑 Light" panose="020B0502040204020203" charset="-122"/>
                <a:ea typeface="微软雅黑 Light" panose="020B0502040204020203" charset="-122"/>
                <a:cs typeface="微软雅黑 Light" panose="020B0502040204020203" charset="-122"/>
                <a:sym typeface="+mn-ea"/>
              </a:rPr>
              <a:t>高质量合成数据与应用供应商</a:t>
            </a:r>
            <a:endParaRPr lang="en-US" altLang="zh-CN" sz="1200" b="1" u="sng" dirty="0">
              <a:solidFill>
                <a:schemeClr val="bg1"/>
              </a:solidFill>
              <a:latin typeface="微软雅黑 Light" panose="020B0502040204020203" charset="-122"/>
              <a:ea typeface="微软雅黑 Light" panose="020B0502040204020203" charset="-122"/>
              <a:cs typeface="微软雅黑 Light" panose="020B0502040204020203" charset="-122"/>
              <a:sym typeface="+mn-ea"/>
            </a:endParaRPr>
          </a:p>
          <a:p>
            <a:r>
              <a:rPr lang="en-US" altLang="zh-CN" sz="1400" b="1" dirty="0">
                <a:solidFill>
                  <a:schemeClr val="bg1"/>
                </a:solidFill>
                <a:latin typeface="Bahnschrift Condensed" panose="020B0502040204020203" pitchFamily="34" charset="0"/>
                <a:ea typeface="Verdana" panose="020B0604030504040204" pitchFamily="34" charset="0"/>
                <a:cs typeface="微软雅黑 Light" panose="020B0502040204020203" charset="-122"/>
                <a:sym typeface="+mn-ea"/>
              </a:rPr>
              <a:t>AI-Based Synthetic Data/Application Vendor</a:t>
            </a:r>
            <a:endParaRPr lang="zh-CN" altLang="en-US" sz="1400" b="1" dirty="0">
              <a:solidFill>
                <a:schemeClr val="bg1"/>
              </a:solidFill>
              <a:latin typeface="Bahnschrift Condensed" panose="020B0502040204020203" pitchFamily="34" charset="0"/>
              <a:ea typeface="微软雅黑 Light" panose="020B0502040204020203" charset="-122"/>
              <a:cs typeface="微软雅黑 Light" panose="020B0502040204020203" charset="-122"/>
              <a:sym typeface="+mn-ea"/>
            </a:endParaRPr>
          </a:p>
        </p:txBody>
      </p:sp>
      <p:pic>
        <p:nvPicPr>
          <p:cNvPr id="7" name="图片 6" descr="宽客透明图标">
            <a:extLst>
              <a:ext uri="{FF2B5EF4-FFF2-40B4-BE49-F238E27FC236}">
                <a16:creationId xmlns:a16="http://schemas.microsoft.com/office/drawing/2014/main" id="{B94707B1-0E7E-27CA-8EF2-58E2FB0B87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37" y="5303129"/>
            <a:ext cx="1420165" cy="13593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C1A58039-A97E-599E-19E3-14D7BE2CC3AC}"/>
              </a:ext>
            </a:extLst>
          </p:cNvPr>
          <p:cNvSpPr txBox="1"/>
          <p:nvPr/>
        </p:nvSpPr>
        <p:spPr>
          <a:xfrm>
            <a:off x="4888891" y="5303129"/>
            <a:ext cx="1635448" cy="95410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r"/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/>
            <a:r>
              <a:rPr lang="en-US" altLang="zh-CN" sz="2800" b="1" dirty="0">
                <a:solidFill>
                  <a:schemeClr val="bg1"/>
                </a:solidFill>
                <a:latin typeface="微软雅黑 Light" panose="020B0502040204020203" charset="-122"/>
                <a:ea typeface="微软雅黑 Light" panose="020B0502040204020203" charset="-122"/>
                <a:cs typeface="微软雅黑 Light" panose="020B0502040204020203" charset="-122"/>
                <a:sym typeface="+mn-ea"/>
              </a:rPr>
              <a:t>2022.12.1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A39B62F5-0638-0063-FA78-7298A5FA7D3D}"/>
              </a:ext>
            </a:extLst>
          </p:cNvPr>
          <p:cNvSpPr txBox="1"/>
          <p:nvPr/>
        </p:nvSpPr>
        <p:spPr>
          <a:xfrm>
            <a:off x="638378" y="2080075"/>
            <a:ext cx="2757486" cy="5232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sz="2800" i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ML5G-PS-009: 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8F2B084-A891-4497-2A06-9DA993AB8FB1}"/>
              </a:ext>
            </a:extLst>
          </p:cNvPr>
          <p:cNvSpPr txBox="1"/>
          <p:nvPr/>
        </p:nvSpPr>
        <p:spPr>
          <a:xfrm>
            <a:off x="0" y="2982446"/>
            <a:ext cx="121843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3200" b="1" i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ynthetic Observability Data Generation using GANs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228CB3E-75E6-EF46-A92B-27DB66492E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051" y="5477020"/>
            <a:ext cx="1011588" cy="101158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1DCC0972-6754-9749-8CF9-ED555D51EC3B}"/>
              </a:ext>
            </a:extLst>
          </p:cNvPr>
          <p:cNvSpPr txBox="1"/>
          <p:nvPr/>
        </p:nvSpPr>
        <p:spPr>
          <a:xfrm>
            <a:off x="2981027" y="4149599"/>
            <a:ext cx="6481025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zh-CN" dirty="0">
                <a:solidFill>
                  <a:schemeClr val="bg1"/>
                </a:solidFill>
              </a:rPr>
              <a:t>Beijing</a:t>
            </a:r>
            <a:r>
              <a:rPr kumimoji="1" lang="zh-CN" altLang="en-US" dirty="0">
                <a:solidFill>
                  <a:schemeClr val="bg1"/>
                </a:solidFill>
              </a:rPr>
              <a:t> </a:t>
            </a:r>
            <a:r>
              <a:rPr kumimoji="1" lang="en-US" altLang="zh-CN" dirty="0">
                <a:solidFill>
                  <a:schemeClr val="bg1"/>
                </a:solidFill>
              </a:rPr>
              <a:t>Quant Evolution Inc.</a:t>
            </a:r>
            <a:r>
              <a:rPr kumimoji="1" lang="zh-CN" altLang="en-US" dirty="0">
                <a:solidFill>
                  <a:schemeClr val="bg1"/>
                </a:solidFill>
              </a:rPr>
              <a:t>（北京宽客进化科技有限公司）</a:t>
            </a:r>
            <a:endParaRPr kumimoji="1" lang="en-US" altLang="zh-CN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kumimoji="1" lang="en" altLang="zh-CN" dirty="0">
                <a:solidFill>
                  <a:schemeClr val="bg1"/>
                </a:solidFill>
              </a:rPr>
              <a:t>China Mobile Research Institute</a:t>
            </a:r>
            <a:r>
              <a:rPr kumimoji="1" lang="zh-CN" altLang="en-US" dirty="0">
                <a:solidFill>
                  <a:schemeClr val="bg1"/>
                </a:solidFill>
              </a:rPr>
              <a:t>（中国移动研究院）</a:t>
            </a:r>
          </a:p>
        </p:txBody>
      </p:sp>
    </p:spTree>
    <p:extLst>
      <p:ext uri="{BB962C8B-B14F-4D97-AF65-F5344CB8AC3E}">
        <p14:creationId xmlns:p14="http://schemas.microsoft.com/office/powerpoint/2010/main" val="2882161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0F7DC9D9-6B57-3A25-60BF-8416D9274C2D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Assessment </a:t>
            </a:r>
          </a:p>
        </p:txBody>
      </p:sp>
      <p:graphicFrame>
        <p:nvGraphicFramePr>
          <p:cNvPr id="2" name="表格 4">
            <a:extLst>
              <a:ext uri="{FF2B5EF4-FFF2-40B4-BE49-F238E27FC236}">
                <a16:creationId xmlns:a16="http://schemas.microsoft.com/office/drawing/2014/main" id="{F3FBB334-400E-08A0-5E63-AD25790E3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197333"/>
              </p:ext>
            </p:extLst>
          </p:nvPr>
        </p:nvGraphicFramePr>
        <p:xfrm>
          <a:off x="0" y="1197838"/>
          <a:ext cx="12192003" cy="35841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2500">
                  <a:extLst>
                    <a:ext uri="{9D8B030D-6E8A-4147-A177-3AD203B41FA5}">
                      <a16:colId xmlns:a16="http://schemas.microsoft.com/office/drawing/2014/main" val="2550428364"/>
                    </a:ext>
                  </a:extLst>
                </a:gridCol>
                <a:gridCol w="1182254">
                  <a:extLst>
                    <a:ext uri="{9D8B030D-6E8A-4147-A177-3AD203B41FA5}">
                      <a16:colId xmlns:a16="http://schemas.microsoft.com/office/drawing/2014/main" val="2112913499"/>
                    </a:ext>
                  </a:extLst>
                </a:gridCol>
                <a:gridCol w="1292413">
                  <a:extLst>
                    <a:ext uri="{9D8B030D-6E8A-4147-A177-3AD203B41FA5}">
                      <a16:colId xmlns:a16="http://schemas.microsoft.com/office/drawing/2014/main" val="4090539008"/>
                    </a:ext>
                  </a:extLst>
                </a:gridCol>
                <a:gridCol w="1266060">
                  <a:extLst>
                    <a:ext uri="{9D8B030D-6E8A-4147-A177-3AD203B41FA5}">
                      <a16:colId xmlns:a16="http://schemas.microsoft.com/office/drawing/2014/main" val="3279558751"/>
                    </a:ext>
                  </a:extLst>
                </a:gridCol>
                <a:gridCol w="1300971">
                  <a:extLst>
                    <a:ext uri="{9D8B030D-6E8A-4147-A177-3AD203B41FA5}">
                      <a16:colId xmlns:a16="http://schemas.microsoft.com/office/drawing/2014/main" val="3434520573"/>
                    </a:ext>
                  </a:extLst>
                </a:gridCol>
                <a:gridCol w="1275127">
                  <a:extLst>
                    <a:ext uri="{9D8B030D-6E8A-4147-A177-3AD203B41FA5}">
                      <a16:colId xmlns:a16="http://schemas.microsoft.com/office/drawing/2014/main" val="179737236"/>
                    </a:ext>
                  </a:extLst>
                </a:gridCol>
                <a:gridCol w="1258349">
                  <a:extLst>
                    <a:ext uri="{9D8B030D-6E8A-4147-A177-3AD203B41FA5}">
                      <a16:colId xmlns:a16="http://schemas.microsoft.com/office/drawing/2014/main" val="440783751"/>
                    </a:ext>
                  </a:extLst>
                </a:gridCol>
                <a:gridCol w="1224792">
                  <a:extLst>
                    <a:ext uri="{9D8B030D-6E8A-4147-A177-3AD203B41FA5}">
                      <a16:colId xmlns:a16="http://schemas.microsoft.com/office/drawing/2014/main" val="2615392402"/>
                    </a:ext>
                  </a:extLst>
                </a:gridCol>
                <a:gridCol w="1269537">
                  <a:extLst>
                    <a:ext uri="{9D8B030D-6E8A-4147-A177-3AD203B41FA5}">
                      <a16:colId xmlns:a16="http://schemas.microsoft.com/office/drawing/2014/main" val="3687105848"/>
                    </a:ext>
                  </a:extLst>
                </a:gridCol>
              </a:tblGrid>
              <a:tr h="840934">
                <a:tc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fre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used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user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system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idl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Short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idterm</a:t>
                      </a: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Long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91078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Wasserstein distanc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(synthetic data)</a:t>
                      </a:r>
                      <a:endParaRPr lang="en-US" altLang="zh-CN" sz="1800" b="1" i="0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420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489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70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1847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657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540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1039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483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3237550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Wasserstein distanc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(real data)</a:t>
                      </a:r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076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23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254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20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49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40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146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0271</a:t>
                      </a:r>
                      <a:endParaRPr lang="zh-CN" alt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6667530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Wasserstein distanc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(random data)</a:t>
                      </a:r>
                      <a:endParaRPr lang="en-US" altLang="zh-CN" sz="1800" b="1" i="0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55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510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194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451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880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342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3248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2273</a:t>
                      </a:r>
                      <a:endParaRPr lang="zh-CN" alt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23989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5065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0F7DC9D9-6B57-3A25-60BF-8416D9274C2D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Assessment </a:t>
            </a:r>
          </a:p>
        </p:txBody>
      </p:sp>
      <p:graphicFrame>
        <p:nvGraphicFramePr>
          <p:cNvPr id="2" name="表格 4">
            <a:extLst>
              <a:ext uri="{FF2B5EF4-FFF2-40B4-BE49-F238E27FC236}">
                <a16:creationId xmlns:a16="http://schemas.microsoft.com/office/drawing/2014/main" id="{F3FBB334-400E-08A0-5E63-AD25790E3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037950"/>
              </p:ext>
            </p:extLst>
          </p:nvPr>
        </p:nvGraphicFramePr>
        <p:xfrm>
          <a:off x="0" y="1197838"/>
          <a:ext cx="12192003" cy="2522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2500">
                  <a:extLst>
                    <a:ext uri="{9D8B030D-6E8A-4147-A177-3AD203B41FA5}">
                      <a16:colId xmlns:a16="http://schemas.microsoft.com/office/drawing/2014/main" val="2550428364"/>
                    </a:ext>
                  </a:extLst>
                </a:gridCol>
                <a:gridCol w="1182254">
                  <a:extLst>
                    <a:ext uri="{9D8B030D-6E8A-4147-A177-3AD203B41FA5}">
                      <a16:colId xmlns:a16="http://schemas.microsoft.com/office/drawing/2014/main" val="2112913499"/>
                    </a:ext>
                  </a:extLst>
                </a:gridCol>
                <a:gridCol w="1292413">
                  <a:extLst>
                    <a:ext uri="{9D8B030D-6E8A-4147-A177-3AD203B41FA5}">
                      <a16:colId xmlns:a16="http://schemas.microsoft.com/office/drawing/2014/main" val="4090539008"/>
                    </a:ext>
                  </a:extLst>
                </a:gridCol>
                <a:gridCol w="1266060">
                  <a:extLst>
                    <a:ext uri="{9D8B030D-6E8A-4147-A177-3AD203B41FA5}">
                      <a16:colId xmlns:a16="http://schemas.microsoft.com/office/drawing/2014/main" val="3279558751"/>
                    </a:ext>
                  </a:extLst>
                </a:gridCol>
                <a:gridCol w="1300971">
                  <a:extLst>
                    <a:ext uri="{9D8B030D-6E8A-4147-A177-3AD203B41FA5}">
                      <a16:colId xmlns:a16="http://schemas.microsoft.com/office/drawing/2014/main" val="3434520573"/>
                    </a:ext>
                  </a:extLst>
                </a:gridCol>
                <a:gridCol w="1275127">
                  <a:extLst>
                    <a:ext uri="{9D8B030D-6E8A-4147-A177-3AD203B41FA5}">
                      <a16:colId xmlns:a16="http://schemas.microsoft.com/office/drawing/2014/main" val="179737236"/>
                    </a:ext>
                  </a:extLst>
                </a:gridCol>
                <a:gridCol w="1258349">
                  <a:extLst>
                    <a:ext uri="{9D8B030D-6E8A-4147-A177-3AD203B41FA5}">
                      <a16:colId xmlns:a16="http://schemas.microsoft.com/office/drawing/2014/main" val="440783751"/>
                    </a:ext>
                  </a:extLst>
                </a:gridCol>
                <a:gridCol w="1224792">
                  <a:extLst>
                    <a:ext uri="{9D8B030D-6E8A-4147-A177-3AD203B41FA5}">
                      <a16:colId xmlns:a16="http://schemas.microsoft.com/office/drawing/2014/main" val="2615392402"/>
                    </a:ext>
                  </a:extLst>
                </a:gridCol>
                <a:gridCol w="1269537">
                  <a:extLst>
                    <a:ext uri="{9D8B030D-6E8A-4147-A177-3AD203B41FA5}">
                      <a16:colId xmlns:a16="http://schemas.microsoft.com/office/drawing/2014/main" val="3687105848"/>
                    </a:ext>
                  </a:extLst>
                </a:gridCol>
              </a:tblGrid>
              <a:tr h="840934">
                <a:tc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fre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emory used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user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system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PU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idle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Short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idterm</a:t>
                      </a: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Longterm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1A9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91078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Autocorrelation</a:t>
                      </a:r>
                    </a:p>
                    <a:p>
                      <a:pPr algn="ctr"/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zh-CN" sz="18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synthetic_data</a:t>
                      </a: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509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427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46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240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571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6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61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62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3237550"/>
                  </a:ext>
                </a:extLst>
              </a:tr>
              <a:tr h="8409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Autocorrelation</a:t>
                      </a:r>
                    </a:p>
                    <a:p>
                      <a:pPr algn="ctr"/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zh-CN" sz="1800" b="1" dirty="0" err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real_data</a:t>
                      </a: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51A9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541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607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22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860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498</a:t>
                      </a:r>
                      <a:endParaRPr lang="zh-CN" altLang="en-US" sz="16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712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811</a:t>
                      </a:r>
                      <a:endParaRPr lang="zh-CN" alt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latin typeface="+mn-ea"/>
                          <a:ea typeface="+mn-ea"/>
                        </a:rPr>
                        <a:t>0.9833</a:t>
                      </a:r>
                      <a:endParaRPr lang="zh-CN" alt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66675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68152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540055" y="2536841"/>
            <a:ext cx="5453777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特征分布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903E1472-F0E0-D64A-9074-0E1229D148FE}"/>
              </a:ext>
            </a:extLst>
          </p:cNvPr>
          <p:cNvGrpSpPr/>
          <p:nvPr/>
        </p:nvGrpSpPr>
        <p:grpSpPr>
          <a:xfrm>
            <a:off x="540055" y="5978404"/>
            <a:ext cx="9091296" cy="356695"/>
            <a:chOff x="3206025" y="6044466"/>
            <a:chExt cx="11331005" cy="418191"/>
          </a:xfrm>
        </p:grpSpPr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D12F5DC4-9CE7-95FA-D7B4-ED15B63B7B6A}"/>
                </a:ext>
              </a:extLst>
            </p:cNvPr>
            <p:cNvSpPr txBox="1"/>
            <p:nvPr/>
          </p:nvSpPr>
          <p:spPr>
            <a:xfrm>
              <a:off x="3206025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B06C2848-5446-3EC1-5427-4A2FC4AA4721}"/>
                </a:ext>
              </a:extLst>
            </p:cNvPr>
            <p:cNvSpPr txBox="1"/>
            <p:nvPr/>
          </p:nvSpPr>
          <p:spPr>
            <a:xfrm>
              <a:off x="620282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4E48F75-E9C1-EE8D-6766-0820A2EDD79F}"/>
                </a:ext>
              </a:extLst>
            </p:cNvPr>
            <p:cNvSpPr txBox="1"/>
            <p:nvPr/>
          </p:nvSpPr>
          <p:spPr>
            <a:xfrm>
              <a:off x="918368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C3DBDA3-32E1-E444-4B41-002526874D02}"/>
                </a:ext>
              </a:extLst>
            </p:cNvPr>
            <p:cNvSpPr txBox="1"/>
            <p:nvPr/>
          </p:nvSpPr>
          <p:spPr>
            <a:xfrm>
              <a:off x="12220593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909A025E-6E61-CA49-A312-3256CD3D7F1A}"/>
              </a:ext>
            </a:extLst>
          </p:cNvPr>
          <p:cNvGrpSpPr/>
          <p:nvPr/>
        </p:nvGrpSpPr>
        <p:grpSpPr>
          <a:xfrm>
            <a:off x="3773887" y="3712502"/>
            <a:ext cx="7232984" cy="405251"/>
            <a:chOff x="2182781" y="3898478"/>
            <a:chExt cx="8356154" cy="418128"/>
          </a:xfrm>
        </p:grpSpPr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B572C73-C21D-8126-3DBF-B5DE6630B176}"/>
                </a:ext>
              </a:extLst>
            </p:cNvPr>
            <p:cNvSpPr txBox="1"/>
            <p:nvPr/>
          </p:nvSpPr>
          <p:spPr>
            <a:xfrm>
              <a:off x="218278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BBA2BE75-9959-CF84-2888-C82C89411019}"/>
                </a:ext>
              </a:extLst>
            </p:cNvPr>
            <p:cNvSpPr txBox="1"/>
            <p:nvPr/>
          </p:nvSpPr>
          <p:spPr>
            <a:xfrm>
              <a:off x="516364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91AA7D26-DDB5-76B4-C4CE-28137E458A46}"/>
                </a:ext>
              </a:extLst>
            </p:cNvPr>
            <p:cNvSpPr txBox="1"/>
            <p:nvPr/>
          </p:nvSpPr>
          <p:spPr>
            <a:xfrm>
              <a:off x="8200545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B67CF7F9-2123-9842-BEA8-9A98B1C892C1}"/>
              </a:ext>
            </a:extLst>
          </p:cNvPr>
          <p:cNvSpPr txBox="1"/>
          <p:nvPr/>
        </p:nvSpPr>
        <p:spPr>
          <a:xfrm>
            <a:off x="9970548" y="5969754"/>
            <a:ext cx="1858566" cy="35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 idle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AC6AA75-18F4-8782-4C4E-D52062598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315" y="4615251"/>
            <a:ext cx="2302830" cy="137762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B34B2F0-138F-B84C-4499-B9F0E93E85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7813" y="4617964"/>
            <a:ext cx="2285024" cy="137220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AC545A5C-0487-E4D8-AE81-C5CBE394CB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3150" y="4623388"/>
            <a:ext cx="2279089" cy="136677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FA70C41-123A-5E6E-7665-43EBC10FC3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8101" y="4620674"/>
            <a:ext cx="2291340" cy="136677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D2C42378-0261-E300-AB13-EB8D3F49A6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87285" y="4609005"/>
            <a:ext cx="2302830" cy="139011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3F84CCB4-DBD7-1809-5CD0-82E1F0F099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2544" y="2093929"/>
            <a:ext cx="2681288" cy="163136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1737DEC-5F74-C710-5896-3799E9BA62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46235" y="2074848"/>
            <a:ext cx="2688289" cy="1637766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D033335-0388-1519-32E5-1253FFB6FE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02068" y="2093929"/>
            <a:ext cx="2681288" cy="1618573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1B66397E-8856-800D-363A-C27B7A1AEDE9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Assessment </a:t>
            </a:r>
          </a:p>
        </p:txBody>
      </p:sp>
    </p:spTree>
    <p:extLst>
      <p:ext uri="{BB962C8B-B14F-4D97-AF65-F5344CB8AC3E}">
        <p14:creationId xmlns:p14="http://schemas.microsoft.com/office/powerpoint/2010/main" val="36074300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BEFD86-283F-7E48-8919-41B5F11727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Generate workload data by conditions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750149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712364" y="2412248"/>
            <a:ext cx="2457862" cy="961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gh workload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w workload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DFB5D22-9965-194F-8278-D9B2749D497D}"/>
              </a:ext>
            </a:extLst>
          </p:cNvPr>
          <p:cNvGrpSpPr/>
          <p:nvPr/>
        </p:nvGrpSpPr>
        <p:grpSpPr>
          <a:xfrm>
            <a:off x="1388694" y="4409110"/>
            <a:ext cx="10381688" cy="1888512"/>
            <a:chOff x="304598" y="1948860"/>
            <a:chExt cx="14551119" cy="2127681"/>
          </a:xfrm>
        </p:grpSpPr>
        <p:sp>
          <p:nvSpPr>
            <p:cNvPr id="3" name="文本框 2">
              <a:extLst>
                <a:ext uri="{FF2B5EF4-FFF2-40B4-BE49-F238E27FC236}">
                  <a16:creationId xmlns:a16="http://schemas.microsoft.com/office/drawing/2014/main" id="{44FD02F9-FA7F-97F1-31C0-85D0295D97C6}"/>
                </a:ext>
              </a:extLst>
            </p:cNvPr>
            <p:cNvSpPr txBox="1"/>
            <p:nvPr/>
          </p:nvSpPr>
          <p:spPr>
            <a:xfrm>
              <a:off x="468452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0BC79369-808D-9E26-DD78-492FD5B07F74}"/>
                </a:ext>
              </a:extLst>
            </p:cNvPr>
            <p:cNvSpPr txBox="1"/>
            <p:nvPr/>
          </p:nvSpPr>
          <p:spPr>
            <a:xfrm>
              <a:off x="3465256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809D03DB-BC1A-0005-A4FA-52AB0E753447}"/>
                </a:ext>
              </a:extLst>
            </p:cNvPr>
            <p:cNvSpPr txBox="1"/>
            <p:nvPr/>
          </p:nvSpPr>
          <p:spPr>
            <a:xfrm>
              <a:off x="6446116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2327F362-A3FF-5785-4C2F-AB1EDE36FA9F}"/>
                </a:ext>
              </a:extLst>
            </p:cNvPr>
            <p:cNvSpPr txBox="1"/>
            <p:nvPr/>
          </p:nvSpPr>
          <p:spPr>
            <a:xfrm>
              <a:off x="9483020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6A424461-F9BF-CD46-2526-50FBA1FBDD31}"/>
                </a:ext>
              </a:extLst>
            </p:cNvPr>
            <p:cNvSpPr txBox="1"/>
            <p:nvPr/>
          </p:nvSpPr>
          <p:spPr>
            <a:xfrm>
              <a:off x="12290646" y="3658350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idle</a:t>
              </a:r>
            </a:p>
          </p:txBody>
        </p:sp>
        <p:pic>
          <p:nvPicPr>
            <p:cNvPr id="20" name="图片 19">
              <a:extLst>
                <a:ext uri="{FF2B5EF4-FFF2-40B4-BE49-F238E27FC236}">
                  <a16:creationId xmlns:a16="http://schemas.microsoft.com/office/drawing/2014/main" id="{E781086A-6F50-0470-74A5-30736C2EC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4598" y="1948860"/>
              <a:ext cx="2813703" cy="1827021"/>
            </a:xfrm>
            <a:prstGeom prst="rect">
              <a:avLst/>
            </a:prstGeom>
          </p:spPr>
        </p:pic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1169F643-821F-3559-288D-45CE120B2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9306" y="1955681"/>
              <a:ext cx="2807020" cy="1814154"/>
            </a:xfrm>
            <a:prstGeom prst="rect">
              <a:avLst/>
            </a:prstGeom>
          </p:spPr>
        </p:pic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A377D541-ED7C-E429-D144-4EFECF4E3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08558" y="1982404"/>
              <a:ext cx="2807020" cy="1794855"/>
            </a:xfrm>
            <a:prstGeom prst="rect">
              <a:avLst/>
            </a:prstGeom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86271099-74BE-3DA8-5136-545571DA0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68603" y="1982404"/>
              <a:ext cx="2820386" cy="1794855"/>
            </a:xfrm>
            <a:prstGeom prst="rect">
              <a:avLst/>
            </a:prstGeom>
          </p:spPr>
        </p:pic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5D9D4072-F87B-6452-1FBC-EDB5C1F0A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042014" y="1948860"/>
              <a:ext cx="2813703" cy="1801288"/>
            </a:xfrm>
            <a:prstGeom prst="rect">
              <a:avLst/>
            </a:prstGeom>
          </p:spPr>
        </p:pic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823AFF1A-0800-4E4D-A47D-CA94842C7AE3}"/>
              </a:ext>
            </a:extLst>
          </p:cNvPr>
          <p:cNvGrpSpPr/>
          <p:nvPr/>
        </p:nvGrpSpPr>
        <p:grpSpPr>
          <a:xfrm>
            <a:off x="3759516" y="2115856"/>
            <a:ext cx="7545590" cy="2035469"/>
            <a:chOff x="3307911" y="4604817"/>
            <a:chExt cx="8679050" cy="2253183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6E38FC5-5333-F497-FBA7-EDFB48C2A211}"/>
                </a:ext>
              </a:extLst>
            </p:cNvPr>
            <p:cNvSpPr txBox="1"/>
            <p:nvPr/>
          </p:nvSpPr>
          <p:spPr>
            <a:xfrm>
              <a:off x="3543676" y="643980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37ACF4D1-C3AC-03F3-2868-787A48BC9D2A}"/>
                </a:ext>
              </a:extLst>
            </p:cNvPr>
            <p:cNvSpPr txBox="1"/>
            <p:nvPr/>
          </p:nvSpPr>
          <p:spPr>
            <a:xfrm>
              <a:off x="6524536" y="643980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B8F0D5F3-ED34-E6ED-7A0D-FBBA522D7703}"/>
                </a:ext>
              </a:extLst>
            </p:cNvPr>
            <p:cNvSpPr txBox="1"/>
            <p:nvPr/>
          </p:nvSpPr>
          <p:spPr>
            <a:xfrm>
              <a:off x="9561440" y="643980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2" name="图片 31">
              <a:extLst>
                <a:ext uri="{FF2B5EF4-FFF2-40B4-BE49-F238E27FC236}">
                  <a16:creationId xmlns:a16="http://schemas.microsoft.com/office/drawing/2014/main" id="{BED7F067-22EA-C032-42AF-24AFEEA44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07911" y="4604817"/>
              <a:ext cx="2827069" cy="1801288"/>
            </a:xfrm>
            <a:prstGeom prst="rect">
              <a:avLst/>
            </a:prstGeom>
          </p:spPr>
        </p:pic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517B7E81-2FE1-51AD-3EBC-4EA25FAC8E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96753" y="4627107"/>
              <a:ext cx="2813704" cy="1794856"/>
            </a:xfrm>
            <a:prstGeom prst="rect">
              <a:avLst/>
            </a:prstGeom>
          </p:spPr>
        </p:pic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35AEB0CF-0FB1-5DF3-F630-248F26804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79941" y="4632087"/>
              <a:ext cx="2807020" cy="1807722"/>
            </a:xfrm>
            <a:prstGeom prst="rect">
              <a:avLst/>
            </a:prstGeom>
          </p:spPr>
        </p:pic>
      </p:grpSp>
      <p:sp>
        <p:nvSpPr>
          <p:cNvPr id="11" name="矩形 10">
            <a:extLst>
              <a:ext uri="{FF2B5EF4-FFF2-40B4-BE49-F238E27FC236}">
                <a16:creationId xmlns:a16="http://schemas.microsoft.com/office/drawing/2014/main" id="{FE9625E8-48A7-74F5-D548-8F267C61FD7F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High/Low workload generation</a:t>
            </a:r>
          </a:p>
        </p:txBody>
      </p:sp>
    </p:spTree>
    <p:extLst>
      <p:ext uri="{BB962C8B-B14F-4D97-AF65-F5344CB8AC3E}">
        <p14:creationId xmlns:p14="http://schemas.microsoft.com/office/powerpoint/2010/main" val="21741680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4AAB35C-266C-0FDA-019F-8608DFC94F08}"/>
              </a:ext>
            </a:extLst>
          </p:cNvPr>
          <p:cNvSpPr txBox="1"/>
          <p:nvPr/>
        </p:nvSpPr>
        <p:spPr>
          <a:xfrm>
            <a:off x="1076960" y="762000"/>
            <a:ext cx="49684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Daily workload generation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1076960" y="2656530"/>
            <a:ext cx="2174289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Daily workload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629BCDC0-53D4-ED4D-938C-DA4AB5D50277}"/>
              </a:ext>
            </a:extLst>
          </p:cNvPr>
          <p:cNvGrpSpPr/>
          <p:nvPr/>
        </p:nvGrpSpPr>
        <p:grpSpPr>
          <a:xfrm>
            <a:off x="3913122" y="2113788"/>
            <a:ext cx="7563077" cy="2038914"/>
            <a:chOff x="3041350" y="2028094"/>
            <a:chExt cx="8538556" cy="2038914"/>
          </a:xfrm>
        </p:grpSpPr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6E38FC5-5333-F497-FBA7-EDFB48C2A211}"/>
                </a:ext>
              </a:extLst>
            </p:cNvPr>
            <p:cNvSpPr txBox="1"/>
            <p:nvPr/>
          </p:nvSpPr>
          <p:spPr>
            <a:xfrm>
              <a:off x="3199870" y="3648817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37ACF4D1-C3AC-03F3-2868-787A48BC9D2A}"/>
                </a:ext>
              </a:extLst>
            </p:cNvPr>
            <p:cNvSpPr txBox="1"/>
            <p:nvPr/>
          </p:nvSpPr>
          <p:spPr>
            <a:xfrm>
              <a:off x="6180730" y="3648817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B8F0D5F3-ED34-E6ED-7A0D-FBBA522D7703}"/>
                </a:ext>
              </a:extLst>
            </p:cNvPr>
            <p:cNvSpPr txBox="1"/>
            <p:nvPr/>
          </p:nvSpPr>
          <p:spPr>
            <a:xfrm>
              <a:off x="9217634" y="3648817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5" name="图片 34">
              <a:extLst>
                <a:ext uri="{FF2B5EF4-FFF2-40B4-BE49-F238E27FC236}">
                  <a16:creationId xmlns:a16="http://schemas.microsoft.com/office/drawing/2014/main" id="{6BC76EB7-5176-7878-9A9C-51B101C5B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41350" y="2028094"/>
              <a:ext cx="2590678" cy="1688304"/>
            </a:xfrm>
            <a:prstGeom prst="rect">
              <a:avLst/>
            </a:prstGeom>
          </p:spPr>
        </p:pic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1D290775-ABD3-CC37-9279-88E569128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91786" y="2067891"/>
              <a:ext cx="2631263" cy="1663476"/>
            </a:xfrm>
            <a:prstGeom prst="rect">
              <a:avLst/>
            </a:prstGeom>
          </p:spPr>
        </p:pic>
        <p:pic>
          <p:nvPicPr>
            <p:cNvPr id="39" name="图片 38">
              <a:extLst>
                <a:ext uri="{FF2B5EF4-FFF2-40B4-BE49-F238E27FC236}">
                  <a16:creationId xmlns:a16="http://schemas.microsoft.com/office/drawing/2014/main" id="{B45A64E5-EE55-0FD6-A848-3182BA70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6285" y="2081036"/>
              <a:ext cx="2563621" cy="1706925"/>
            </a:xfrm>
            <a:prstGeom prst="rect">
              <a:avLst/>
            </a:prstGeom>
          </p:spPr>
        </p:pic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43BA5355-127F-5945-999D-9BB9C25A18F1}"/>
              </a:ext>
            </a:extLst>
          </p:cNvPr>
          <p:cNvGrpSpPr/>
          <p:nvPr/>
        </p:nvGrpSpPr>
        <p:grpSpPr>
          <a:xfrm>
            <a:off x="676161" y="4300968"/>
            <a:ext cx="10839677" cy="2127481"/>
            <a:chOff x="676161" y="4300968"/>
            <a:chExt cx="10839677" cy="2127481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4857ACB1-31F0-CD41-AFC9-871EE12237F6}"/>
                </a:ext>
              </a:extLst>
            </p:cNvPr>
            <p:cNvGrpSpPr/>
            <p:nvPr/>
          </p:nvGrpSpPr>
          <p:grpSpPr>
            <a:xfrm>
              <a:off x="676161" y="4300968"/>
              <a:ext cx="10839677" cy="2127481"/>
              <a:chOff x="468452" y="1998441"/>
              <a:chExt cx="14137220" cy="2125791"/>
            </a:xfrm>
          </p:grpSpPr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6A424461-F9BF-CD46-2526-50FBA1FBDD31}"/>
                  </a:ext>
                </a:extLst>
              </p:cNvPr>
              <p:cNvSpPr txBox="1"/>
              <p:nvPr/>
            </p:nvSpPr>
            <p:spPr>
              <a:xfrm>
                <a:off x="11976158" y="3706436"/>
                <a:ext cx="2316437" cy="417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PU idle</a:t>
                </a:r>
              </a:p>
            </p:txBody>
          </p:sp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61304C9A-00ED-5F40-A404-260206B591C0}"/>
                  </a:ext>
                </a:extLst>
              </p:cNvPr>
              <p:cNvGrpSpPr/>
              <p:nvPr/>
            </p:nvGrpSpPr>
            <p:grpSpPr>
              <a:xfrm>
                <a:off x="468452" y="1998441"/>
                <a:ext cx="11331005" cy="2078100"/>
                <a:chOff x="468452" y="1998441"/>
                <a:chExt cx="11331005" cy="2078100"/>
              </a:xfrm>
            </p:grpSpPr>
            <p:sp>
              <p:nvSpPr>
                <p:cNvPr id="3" name="文本框 2">
                  <a:extLst>
                    <a:ext uri="{FF2B5EF4-FFF2-40B4-BE49-F238E27FC236}">
                      <a16:creationId xmlns:a16="http://schemas.microsoft.com/office/drawing/2014/main" id="{44FD02F9-FA7F-97F1-31C0-85D0295D97C6}"/>
                    </a:ext>
                  </a:extLst>
                </p:cNvPr>
                <p:cNvSpPr txBox="1"/>
                <p:nvPr/>
              </p:nvSpPr>
              <p:spPr>
                <a:xfrm>
                  <a:off x="468452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emory free</a:t>
                  </a:r>
                  <a:endParaRPr lang="en-US" altLang="zh-CN" sz="16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" name="文本框 3">
                  <a:extLst>
                    <a:ext uri="{FF2B5EF4-FFF2-40B4-BE49-F238E27FC236}">
                      <a16:creationId xmlns:a16="http://schemas.microsoft.com/office/drawing/2014/main" id="{0BC79369-808D-9E26-DD78-492FD5B07F74}"/>
                    </a:ext>
                  </a:extLst>
                </p:cNvPr>
                <p:cNvSpPr txBox="1"/>
                <p:nvPr/>
              </p:nvSpPr>
              <p:spPr>
                <a:xfrm>
                  <a:off x="3465256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Memory used</a:t>
                  </a:r>
                  <a:endParaRPr lang="en-US" altLang="zh-CN" sz="16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" name="文本框 4">
                  <a:extLst>
                    <a:ext uri="{FF2B5EF4-FFF2-40B4-BE49-F238E27FC236}">
                      <a16:creationId xmlns:a16="http://schemas.microsoft.com/office/drawing/2014/main" id="{809D03DB-BC1A-0005-A4FA-52AB0E753447}"/>
                    </a:ext>
                  </a:extLst>
                </p:cNvPr>
                <p:cNvSpPr txBox="1"/>
                <p:nvPr/>
              </p:nvSpPr>
              <p:spPr>
                <a:xfrm>
                  <a:off x="6446116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PU user</a:t>
                  </a:r>
                </a:p>
              </p:txBody>
            </p:sp>
            <p:sp>
              <p:nvSpPr>
                <p:cNvPr id="6" name="文本框 5">
                  <a:extLst>
                    <a:ext uri="{FF2B5EF4-FFF2-40B4-BE49-F238E27FC236}">
                      <a16:creationId xmlns:a16="http://schemas.microsoft.com/office/drawing/2014/main" id="{2327F362-A3FF-5785-4C2F-AB1EDE36FA9F}"/>
                    </a:ext>
                  </a:extLst>
                </p:cNvPr>
                <p:cNvSpPr txBox="1"/>
                <p:nvPr/>
              </p:nvSpPr>
              <p:spPr>
                <a:xfrm>
                  <a:off x="9483020" y="3658350"/>
                  <a:ext cx="2316437" cy="41819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600" dirty="0"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CPU system</a:t>
                  </a:r>
                </a:p>
              </p:txBody>
            </p:sp>
            <p:pic>
              <p:nvPicPr>
                <p:cNvPr id="24" name="图片 23">
                  <a:extLst>
                    <a:ext uri="{FF2B5EF4-FFF2-40B4-BE49-F238E27FC236}">
                      <a16:creationId xmlns:a16="http://schemas.microsoft.com/office/drawing/2014/main" id="{6C2EE29F-7684-7DB8-B29D-8C434472CE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74737" y="1998441"/>
                  <a:ext cx="2570385" cy="1737960"/>
                </a:xfrm>
                <a:prstGeom prst="rect">
                  <a:avLst/>
                </a:prstGeom>
              </p:spPr>
            </p:pic>
            <p:pic>
              <p:nvPicPr>
                <p:cNvPr id="26" name="图片 25">
                  <a:extLst>
                    <a:ext uri="{FF2B5EF4-FFF2-40B4-BE49-F238E27FC236}">
                      <a16:creationId xmlns:a16="http://schemas.microsoft.com/office/drawing/2014/main" id="{5AFCC9E7-88AB-4D3D-5FF8-0CA114874F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553156" y="2031444"/>
                  <a:ext cx="2570385" cy="1744167"/>
                </a:xfrm>
                <a:prstGeom prst="rect">
                  <a:avLst/>
                </a:prstGeom>
              </p:spPr>
            </p:pic>
            <p:pic>
              <p:nvPicPr>
                <p:cNvPr id="28" name="图片 27">
                  <a:extLst>
                    <a:ext uri="{FF2B5EF4-FFF2-40B4-BE49-F238E27FC236}">
                      <a16:creationId xmlns:a16="http://schemas.microsoft.com/office/drawing/2014/main" id="{03AC45F0-9D76-1BD5-F303-C64D00B977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6502160" y="2031444"/>
                  <a:ext cx="2570385" cy="1713132"/>
                </a:xfrm>
                <a:prstGeom prst="rect">
                  <a:avLst/>
                </a:prstGeom>
              </p:spPr>
            </p:pic>
          </p:grpSp>
          <p:pic>
            <p:nvPicPr>
              <p:cNvPr id="32" name="图片 31">
                <a:extLst>
                  <a:ext uri="{FF2B5EF4-FFF2-40B4-BE49-F238E27FC236}">
                    <a16:creationId xmlns:a16="http://schemas.microsoft.com/office/drawing/2014/main" id="{B09E6E14-D0C3-6A7D-19FD-69389E6169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994701" y="2031444"/>
                <a:ext cx="2610971" cy="1688304"/>
              </a:xfrm>
              <a:prstGeom prst="rect">
                <a:avLst/>
              </a:prstGeom>
            </p:spPr>
          </p:pic>
        </p:grpSp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C97A826C-A82D-5547-8278-AAD4231B8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6936" y="4300968"/>
              <a:ext cx="2077877" cy="16919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46166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4AAB35C-266C-0FDA-019F-8608DFC94F08}"/>
              </a:ext>
            </a:extLst>
          </p:cNvPr>
          <p:cNvSpPr txBox="1"/>
          <p:nvPr/>
        </p:nvSpPr>
        <p:spPr>
          <a:xfrm>
            <a:off x="540055" y="683466"/>
            <a:ext cx="565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mplex workload generation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540055" y="2536841"/>
            <a:ext cx="5453777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W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kload 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imbs up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903E1472-F0E0-D64A-9074-0E1229D148FE}"/>
              </a:ext>
            </a:extLst>
          </p:cNvPr>
          <p:cNvGrpSpPr/>
          <p:nvPr/>
        </p:nvGrpSpPr>
        <p:grpSpPr>
          <a:xfrm>
            <a:off x="371741" y="4459236"/>
            <a:ext cx="9390866" cy="1875867"/>
            <a:chOff x="2996246" y="4263383"/>
            <a:chExt cx="11704376" cy="2199274"/>
          </a:xfrm>
        </p:grpSpPr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D12F5DC4-9CE7-95FA-D7B4-ED15B63B7B6A}"/>
                </a:ext>
              </a:extLst>
            </p:cNvPr>
            <p:cNvSpPr txBox="1"/>
            <p:nvPr/>
          </p:nvSpPr>
          <p:spPr>
            <a:xfrm>
              <a:off x="3206025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B06C2848-5446-3EC1-5427-4A2FC4AA4721}"/>
                </a:ext>
              </a:extLst>
            </p:cNvPr>
            <p:cNvSpPr txBox="1"/>
            <p:nvPr/>
          </p:nvSpPr>
          <p:spPr>
            <a:xfrm>
              <a:off x="620282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4E48F75-E9C1-EE8D-6766-0820A2EDD79F}"/>
                </a:ext>
              </a:extLst>
            </p:cNvPr>
            <p:cNvSpPr txBox="1"/>
            <p:nvPr/>
          </p:nvSpPr>
          <p:spPr>
            <a:xfrm>
              <a:off x="9183689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C3DBDA3-32E1-E444-4B41-002526874D02}"/>
                </a:ext>
              </a:extLst>
            </p:cNvPr>
            <p:cNvSpPr txBox="1"/>
            <p:nvPr/>
          </p:nvSpPr>
          <p:spPr>
            <a:xfrm>
              <a:off x="12220593" y="6044466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system</a:t>
              </a:r>
            </a:p>
          </p:txBody>
        </p:sp>
        <p:pic>
          <p:nvPicPr>
            <p:cNvPr id="37" name="图片 36">
              <a:extLst>
                <a:ext uri="{FF2B5EF4-FFF2-40B4-BE49-F238E27FC236}">
                  <a16:creationId xmlns:a16="http://schemas.microsoft.com/office/drawing/2014/main" id="{4E5B482A-7776-20DC-E365-0EF9F66E3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96246" y="4263383"/>
              <a:ext cx="2866400" cy="1875267"/>
            </a:xfrm>
            <a:prstGeom prst="rect">
              <a:avLst/>
            </a:prstGeom>
          </p:spPr>
        </p:pic>
        <p:pic>
          <p:nvPicPr>
            <p:cNvPr id="39" name="图片 38">
              <a:extLst>
                <a:ext uri="{FF2B5EF4-FFF2-40B4-BE49-F238E27FC236}">
                  <a16:creationId xmlns:a16="http://schemas.microsoft.com/office/drawing/2014/main" id="{B1C7C4E4-2EBF-2DCC-0D08-3A56B68C5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32911" y="4263384"/>
              <a:ext cx="2837070" cy="1837074"/>
            </a:xfrm>
            <a:prstGeom prst="rect">
              <a:avLst/>
            </a:prstGeom>
          </p:spPr>
        </p:pic>
        <p:pic>
          <p:nvPicPr>
            <p:cNvPr id="41" name="图片 40">
              <a:extLst>
                <a:ext uri="{FF2B5EF4-FFF2-40B4-BE49-F238E27FC236}">
                  <a16:creationId xmlns:a16="http://schemas.microsoft.com/office/drawing/2014/main" id="{30707509-CC73-8DB2-FCF5-5434E6C5A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801753" y="4284180"/>
              <a:ext cx="2870150" cy="1862909"/>
            </a:xfrm>
            <a:prstGeom prst="rect">
              <a:avLst/>
            </a:prstGeom>
          </p:spPr>
        </p:pic>
        <p:pic>
          <p:nvPicPr>
            <p:cNvPr id="43" name="图片 42">
              <a:extLst>
                <a:ext uri="{FF2B5EF4-FFF2-40B4-BE49-F238E27FC236}">
                  <a16:creationId xmlns:a16="http://schemas.microsoft.com/office/drawing/2014/main" id="{459E3A95-4448-7D74-D7DF-D0CB5EE84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803675" y="4287704"/>
              <a:ext cx="2896947" cy="1862909"/>
            </a:xfrm>
            <a:prstGeom prst="rect">
              <a:avLst/>
            </a:prstGeom>
          </p:spPr>
        </p:pic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909A025E-6E61-CA49-A312-3256CD3D7F1A}"/>
              </a:ext>
            </a:extLst>
          </p:cNvPr>
          <p:cNvGrpSpPr/>
          <p:nvPr/>
        </p:nvGrpSpPr>
        <p:grpSpPr>
          <a:xfrm>
            <a:off x="3568236" y="1902773"/>
            <a:ext cx="7420978" cy="2273410"/>
            <a:chOff x="2026266" y="1970955"/>
            <a:chExt cx="8573341" cy="2345651"/>
          </a:xfrm>
        </p:grpSpPr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B572C73-C21D-8126-3DBF-B5DE6630B176}"/>
                </a:ext>
              </a:extLst>
            </p:cNvPr>
            <p:cNvSpPr txBox="1"/>
            <p:nvPr/>
          </p:nvSpPr>
          <p:spPr>
            <a:xfrm>
              <a:off x="218278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BBA2BE75-9959-CF84-2888-C82C89411019}"/>
                </a:ext>
              </a:extLst>
            </p:cNvPr>
            <p:cNvSpPr txBox="1"/>
            <p:nvPr/>
          </p:nvSpPr>
          <p:spPr>
            <a:xfrm>
              <a:off x="5163641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91AA7D26-DDB5-76B4-C4CE-28137E458A46}"/>
                </a:ext>
              </a:extLst>
            </p:cNvPr>
            <p:cNvSpPr txBox="1"/>
            <p:nvPr/>
          </p:nvSpPr>
          <p:spPr>
            <a:xfrm>
              <a:off x="8200545" y="3898478"/>
              <a:ext cx="2338390" cy="4181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7" name="图片 46">
              <a:extLst>
                <a:ext uri="{FF2B5EF4-FFF2-40B4-BE49-F238E27FC236}">
                  <a16:creationId xmlns:a16="http://schemas.microsoft.com/office/drawing/2014/main" id="{25189887-432E-D9B3-6BFA-FCF97241B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026266" y="2051710"/>
              <a:ext cx="2870148" cy="1839012"/>
            </a:xfrm>
            <a:prstGeom prst="rect">
              <a:avLst/>
            </a:prstGeom>
          </p:spPr>
        </p:pic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4AB0DC8D-DBFD-50E1-9146-B7780B1D1F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22691" y="2001187"/>
              <a:ext cx="2834160" cy="1864756"/>
            </a:xfrm>
            <a:prstGeom prst="rect">
              <a:avLst/>
            </a:prstGeom>
          </p:spPr>
        </p:pic>
        <p:pic>
          <p:nvPicPr>
            <p:cNvPr id="57" name="图片 56">
              <a:extLst>
                <a:ext uri="{FF2B5EF4-FFF2-40B4-BE49-F238E27FC236}">
                  <a16:creationId xmlns:a16="http://schemas.microsoft.com/office/drawing/2014/main" id="{6DB707CB-5ADE-4A14-0A91-25EEDC068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765447" y="1970955"/>
              <a:ext cx="2834160" cy="1884952"/>
            </a:xfrm>
            <a:prstGeom prst="rect">
              <a:avLst/>
            </a:prstGeom>
          </p:spPr>
        </p:pic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B67CF7F9-2123-9842-BEA8-9A98B1C892C1}"/>
              </a:ext>
            </a:extLst>
          </p:cNvPr>
          <p:cNvSpPr txBox="1"/>
          <p:nvPr/>
        </p:nvSpPr>
        <p:spPr>
          <a:xfrm>
            <a:off x="9970548" y="5969754"/>
            <a:ext cx="1858566" cy="35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PU idle</a:t>
            </a: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2238E3B0-278A-844D-9FCE-750D3883D9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85282" y="4459236"/>
            <a:ext cx="2302830" cy="1588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213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>
            <a:extLst>
              <a:ext uri="{FF2B5EF4-FFF2-40B4-BE49-F238E27FC236}">
                <a16:creationId xmlns:a16="http://schemas.microsoft.com/office/drawing/2014/main" id="{8B19CA4E-CD3F-6DA0-5BBD-96FD359050ED}"/>
              </a:ext>
            </a:extLst>
          </p:cNvPr>
          <p:cNvGrpSpPr/>
          <p:nvPr/>
        </p:nvGrpSpPr>
        <p:grpSpPr>
          <a:xfrm>
            <a:off x="4823453" y="2353149"/>
            <a:ext cx="6514831" cy="1576070"/>
            <a:chOff x="3512664" y="2522879"/>
            <a:chExt cx="6514831" cy="1576070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7456DA13-885B-DFAE-7113-D8B1DBD683C1}"/>
                </a:ext>
              </a:extLst>
            </p:cNvPr>
            <p:cNvSpPr txBox="1"/>
            <p:nvPr/>
          </p:nvSpPr>
          <p:spPr>
            <a:xfrm>
              <a:off x="5021568" y="2762349"/>
              <a:ext cx="5005927" cy="70788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zh-CN" altLang="en-US" sz="4000" dirty="0">
                  <a:solidFill>
                    <a:srgbClr val="755E81"/>
                  </a:solidFill>
                </a:rPr>
                <a:t>感谢指导</a:t>
              </a:r>
              <a:endParaRPr lang="en-US" altLang="zh-CN" sz="4000" dirty="0">
                <a:solidFill>
                  <a:srgbClr val="755E81"/>
                </a:solidFill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62ACB3A-389C-9EF8-9644-0BC935E8C774}"/>
                </a:ext>
              </a:extLst>
            </p:cNvPr>
            <p:cNvSpPr txBox="1"/>
            <p:nvPr/>
          </p:nvSpPr>
          <p:spPr>
            <a:xfrm>
              <a:off x="5057081" y="3408680"/>
              <a:ext cx="1706915" cy="52322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n-US" altLang="zh-CN" sz="1400" i="1" dirty="0">
                  <a:solidFill>
                    <a:srgbClr val="755E81"/>
                  </a:solidFill>
                </a:rPr>
                <a:t>ai-quants.cn</a:t>
              </a:r>
            </a:p>
            <a:p>
              <a:r>
                <a:rPr lang="en-US" altLang="zh-CN" sz="1400" i="1" dirty="0">
                  <a:solidFill>
                    <a:srgbClr val="755E81"/>
                  </a:solidFill>
                </a:rPr>
                <a:t>deepgi.cn</a:t>
              </a:r>
            </a:p>
          </p:txBody>
        </p:sp>
        <p:pic>
          <p:nvPicPr>
            <p:cNvPr id="13" name="图片 12" descr="宽客透明图标">
              <a:extLst>
                <a:ext uri="{FF2B5EF4-FFF2-40B4-BE49-F238E27FC236}">
                  <a16:creationId xmlns:a16="http://schemas.microsoft.com/office/drawing/2014/main" id="{282DD92F-6B04-EAA3-AB32-D4955ADA1D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12664" y="2522879"/>
              <a:ext cx="1646555" cy="157607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4" name="图片 13" descr="图片包含 QR 代码&#10;&#10;描述已自动生成">
            <a:extLst>
              <a:ext uri="{FF2B5EF4-FFF2-40B4-BE49-F238E27FC236}">
                <a16:creationId xmlns:a16="http://schemas.microsoft.com/office/drawing/2014/main" id="{D7C15657-9FEC-759E-DEC4-411B40D979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2391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49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0B19BD91-7534-994C-854A-9678B1CD60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911" y="36576"/>
            <a:ext cx="4485055" cy="644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2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254447A-DF24-20C5-20A3-F1C68CDE7019}"/>
              </a:ext>
            </a:extLst>
          </p:cNvPr>
          <p:cNvSpPr/>
          <p:nvPr/>
        </p:nvSpPr>
        <p:spPr>
          <a:xfrm>
            <a:off x="343520" y="238939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32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Problem  statement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E4C42E1-871A-F033-AB47-9815233112A3}"/>
              </a:ext>
            </a:extLst>
          </p:cNvPr>
          <p:cNvSpPr txBox="1"/>
          <p:nvPr/>
        </p:nvSpPr>
        <p:spPr>
          <a:xfrm>
            <a:off x="1049866" y="1401491"/>
            <a:ext cx="6096000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oud workload data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7381650E-3124-54CD-D8CD-E8EEE0ECD113}"/>
              </a:ext>
            </a:extLst>
          </p:cNvPr>
          <p:cNvGrpSpPr/>
          <p:nvPr/>
        </p:nvGrpSpPr>
        <p:grpSpPr>
          <a:xfrm>
            <a:off x="1274307" y="2103798"/>
            <a:ext cx="4821693" cy="4797545"/>
            <a:chOff x="6138334" y="1485457"/>
            <a:chExt cx="5740399" cy="3453778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3219C4C6-3400-6148-AC13-FE61D3F712D5}"/>
                </a:ext>
              </a:extLst>
            </p:cNvPr>
            <p:cNvSpPr/>
            <p:nvPr/>
          </p:nvSpPr>
          <p:spPr>
            <a:xfrm>
              <a:off x="6138334" y="1485457"/>
              <a:ext cx="5029200" cy="3272387"/>
            </a:xfrm>
            <a:prstGeom prst="roundRect">
              <a:avLst>
                <a:gd name="adj" fmla="val 1078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rgbClr val="56B1C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E60A3F46-E84E-255E-F9A3-8F3772CA79D3}"/>
                </a:ext>
              </a:extLst>
            </p:cNvPr>
            <p:cNvSpPr txBox="1"/>
            <p:nvPr/>
          </p:nvSpPr>
          <p:spPr>
            <a:xfrm>
              <a:off x="6445248" y="1554011"/>
              <a:ext cx="5433485" cy="33852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square" numCol="2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_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_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_user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_system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pu</a:t>
              </a: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idle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ad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etwork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octets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octets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packets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packets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errors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errors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dropped_r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dirty="0" err="1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f_dropped_tx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" name="矩形 13">
            <a:extLst>
              <a:ext uri="{FF2B5EF4-FFF2-40B4-BE49-F238E27FC236}">
                <a16:creationId xmlns:a16="http://schemas.microsoft.com/office/drawing/2014/main" id="{FBDFCBB3-DC99-F091-6248-7989EE58DDF2}"/>
              </a:ext>
            </a:extLst>
          </p:cNvPr>
          <p:cNvSpPr/>
          <p:nvPr/>
        </p:nvSpPr>
        <p:spPr>
          <a:xfrm>
            <a:off x="515515" y="1088135"/>
            <a:ext cx="612668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rPr>
              <a:t>1</a:t>
            </a:r>
            <a:endParaRPr lang="zh-CN" altLang="en-US" sz="6000" b="1" cap="none" spc="0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B73E0BC-36A6-2BCD-E0F1-51AE4F7B0C09}"/>
              </a:ext>
            </a:extLst>
          </p:cNvPr>
          <p:cNvGrpSpPr/>
          <p:nvPr/>
        </p:nvGrpSpPr>
        <p:grpSpPr>
          <a:xfrm>
            <a:off x="6255914" y="1036340"/>
            <a:ext cx="5356740" cy="1015663"/>
            <a:chOff x="6457308" y="1088135"/>
            <a:chExt cx="5356740" cy="1015663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D669666F-7897-66F5-A2B9-C973634511F4}"/>
                </a:ext>
              </a:extLst>
            </p:cNvPr>
            <p:cNvSpPr/>
            <p:nvPr/>
          </p:nvSpPr>
          <p:spPr>
            <a:xfrm>
              <a:off x="6457308" y="1088135"/>
              <a:ext cx="612668" cy="101566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6000" b="1" cap="none" spc="0" dirty="0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2</a:t>
              </a:r>
              <a:endParaRPr lang="zh-CN" altLang="en-US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18E68159-D83C-BC33-3AEE-E718891F9B11}"/>
                </a:ext>
              </a:extLst>
            </p:cNvPr>
            <p:cNvSpPr txBox="1"/>
            <p:nvPr/>
          </p:nvSpPr>
          <p:spPr>
            <a:xfrm>
              <a:off x="7069976" y="1374816"/>
              <a:ext cx="4744072" cy="5810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Limited workload data 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F015DE26-36F2-F401-C0B1-BF5119D4F0B8}"/>
              </a:ext>
            </a:extLst>
          </p:cNvPr>
          <p:cNvGrpSpPr/>
          <p:nvPr/>
        </p:nvGrpSpPr>
        <p:grpSpPr>
          <a:xfrm>
            <a:off x="6320034" y="3910309"/>
            <a:ext cx="5561303" cy="2173443"/>
            <a:chOff x="6435599" y="3794760"/>
            <a:chExt cx="5561303" cy="2173443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A2791912-8396-FEDB-F719-8B19A75E0B73}"/>
                </a:ext>
              </a:extLst>
            </p:cNvPr>
            <p:cNvSpPr txBox="1"/>
            <p:nvPr/>
          </p:nvSpPr>
          <p:spPr>
            <a:xfrm>
              <a:off x="6457308" y="4659319"/>
              <a:ext cx="5539594" cy="1308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2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Generate synthetic workload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2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ata 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214D46B-5D38-829A-2AC1-CAEF285E2D59}"/>
                </a:ext>
              </a:extLst>
            </p:cNvPr>
            <p:cNvSpPr/>
            <p:nvPr/>
          </p:nvSpPr>
          <p:spPr>
            <a:xfrm>
              <a:off x="6435599" y="3794760"/>
              <a:ext cx="612668" cy="101566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6000" b="1" dirty="0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</a:rPr>
                <a:t>3</a:t>
              </a:r>
              <a:endParaRPr lang="zh-CN" altLang="en-US" sz="6000" b="1" cap="none" spc="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604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D6DD328-DDAD-6D46-34CB-CAA934E7DE00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Solution overview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B2CA1EE-EDC3-3E8C-60EC-7376BA19C23A}"/>
              </a:ext>
            </a:extLst>
          </p:cNvPr>
          <p:cNvSpPr/>
          <p:nvPr/>
        </p:nvSpPr>
        <p:spPr>
          <a:xfrm>
            <a:off x="0" y="1555056"/>
            <a:ext cx="4032000" cy="4680000"/>
          </a:xfrm>
          <a:prstGeom prst="rect">
            <a:avLst/>
          </a:prstGeom>
          <a:gradFill>
            <a:gsLst>
              <a:gs pos="29000">
                <a:srgbClr val="B8ACC6"/>
              </a:gs>
              <a:gs pos="100000">
                <a:srgbClr val="7A6495"/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B237A1-C754-B1B8-3E0E-233C50D2F266}"/>
              </a:ext>
            </a:extLst>
          </p:cNvPr>
          <p:cNvSpPr/>
          <p:nvPr/>
        </p:nvSpPr>
        <p:spPr>
          <a:xfrm>
            <a:off x="4080000" y="1555056"/>
            <a:ext cx="4032000" cy="4680000"/>
          </a:xfrm>
          <a:prstGeom prst="rect">
            <a:avLst/>
          </a:prstGeom>
          <a:gradFill>
            <a:gsLst>
              <a:gs pos="30000">
                <a:srgbClr val="EBECC5"/>
              </a:gs>
              <a:gs pos="100000">
                <a:srgbClr val="D7DA8D"/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5A2FADE-FB1C-A7FD-38AB-D5CB92C46379}"/>
              </a:ext>
            </a:extLst>
          </p:cNvPr>
          <p:cNvSpPr/>
          <p:nvPr/>
        </p:nvSpPr>
        <p:spPr>
          <a:xfrm>
            <a:off x="8160000" y="1555056"/>
            <a:ext cx="4032000" cy="4680000"/>
          </a:xfrm>
          <a:prstGeom prst="rect">
            <a:avLst/>
          </a:prstGeom>
          <a:gradFill>
            <a:gsLst>
              <a:gs pos="31000">
                <a:srgbClr val="A3D2DE"/>
              </a:gs>
              <a:gs pos="100000">
                <a:srgbClr val="51A9C1"/>
              </a:gs>
              <a:gs pos="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D7B049C-E72D-7FD6-047A-4DBD79902992}"/>
              </a:ext>
            </a:extLst>
          </p:cNvPr>
          <p:cNvSpPr/>
          <p:nvPr/>
        </p:nvSpPr>
        <p:spPr>
          <a:xfrm>
            <a:off x="0" y="1555056"/>
            <a:ext cx="12192000" cy="1080000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1AC9067-4ED4-45DD-99C0-6545070FCF77}"/>
              </a:ext>
            </a:extLst>
          </p:cNvPr>
          <p:cNvSpPr/>
          <p:nvPr/>
        </p:nvSpPr>
        <p:spPr>
          <a:xfrm>
            <a:off x="396000" y="1644192"/>
            <a:ext cx="3240000" cy="900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processing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935F4DC-D786-B7D2-BACA-C6B0296F7B1D}"/>
              </a:ext>
            </a:extLst>
          </p:cNvPr>
          <p:cNvSpPr/>
          <p:nvPr/>
        </p:nvSpPr>
        <p:spPr>
          <a:xfrm>
            <a:off x="4476000" y="1645056"/>
            <a:ext cx="3240000" cy="900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generation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163E056-6CD2-5B71-1395-F5F8F82E084C}"/>
              </a:ext>
            </a:extLst>
          </p:cNvPr>
          <p:cNvSpPr/>
          <p:nvPr/>
        </p:nvSpPr>
        <p:spPr>
          <a:xfrm>
            <a:off x="8556000" y="1645056"/>
            <a:ext cx="3240000" cy="900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ssessment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BFAE7C3-5F0B-1598-50E0-D287622D8EE6}"/>
              </a:ext>
            </a:extLst>
          </p:cNvPr>
          <p:cNvSpPr/>
          <p:nvPr/>
        </p:nvSpPr>
        <p:spPr>
          <a:xfrm>
            <a:off x="396000" y="2936240"/>
            <a:ext cx="3240000" cy="3048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fac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cleans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5F1DAEE-176E-3B42-F35B-0776E9C41422}"/>
              </a:ext>
            </a:extLst>
          </p:cNvPr>
          <p:cNvSpPr/>
          <p:nvPr/>
        </p:nvSpPr>
        <p:spPr>
          <a:xfrm>
            <a:off x="4475999" y="2936240"/>
            <a:ext cx="3433777" cy="3048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raining tabular WGAN-GP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nerate load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isk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mor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order the time seri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nerate network 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EFB2C7B-CF76-7EEF-B190-A14A2D987A72}"/>
              </a:ext>
            </a:extLst>
          </p:cNvPr>
          <p:cNvSpPr/>
          <p:nvPr/>
        </p:nvSpPr>
        <p:spPr>
          <a:xfrm>
            <a:off x="8701777" y="2936240"/>
            <a:ext cx="3240000" cy="3048000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valuate synthetic data</a:t>
            </a:r>
          </a:p>
        </p:txBody>
      </p:sp>
    </p:spTree>
    <p:extLst>
      <p:ext uri="{BB962C8B-B14F-4D97-AF65-F5344CB8AC3E}">
        <p14:creationId xmlns:p14="http://schemas.microsoft.com/office/powerpoint/2010/main" val="297186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6FBDF718-BBD6-9078-2879-99D01DDADA2F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Data processing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8D2075B-814D-E3B7-4782-555E3CE960C6}"/>
              </a:ext>
            </a:extLst>
          </p:cNvPr>
          <p:cNvGrpSpPr/>
          <p:nvPr/>
        </p:nvGrpSpPr>
        <p:grpSpPr>
          <a:xfrm>
            <a:off x="461433" y="1312732"/>
            <a:ext cx="5483797" cy="4962092"/>
            <a:chOff x="612203" y="1202462"/>
            <a:chExt cx="5483797" cy="4962092"/>
          </a:xfrm>
        </p:grpSpPr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D6A5F86F-52AE-41BE-5232-7ADD68C7D8FD}"/>
                </a:ext>
              </a:extLst>
            </p:cNvPr>
            <p:cNvSpPr/>
            <p:nvPr/>
          </p:nvSpPr>
          <p:spPr>
            <a:xfrm>
              <a:off x="612203" y="1202462"/>
              <a:ext cx="5483797" cy="4962092"/>
            </a:xfrm>
            <a:prstGeom prst="roundRect">
              <a:avLst>
                <a:gd name="adj" fmla="val 6815"/>
              </a:avLst>
            </a:prstGeom>
            <a:noFill/>
            <a:ln w="38100">
              <a:solidFill>
                <a:srgbClr val="7A64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2800" b="1" dirty="0">
                  <a:solidFill>
                    <a:srgbClr val="7A649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ta facts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0C0C316A-B0EE-9FAE-A7FF-9BCE2C027703}"/>
                </a:ext>
              </a:extLst>
            </p:cNvPr>
            <p:cNvGrpSpPr/>
            <p:nvPr/>
          </p:nvGrpSpPr>
          <p:grpSpPr>
            <a:xfrm>
              <a:off x="820091" y="2111515"/>
              <a:ext cx="5054010" cy="3737496"/>
              <a:chOff x="408972" y="2481502"/>
              <a:chExt cx="5054010" cy="3737496"/>
            </a:xfrm>
          </p:grpSpPr>
          <p:sp>
            <p:nvSpPr>
              <p:cNvPr id="10" name="矩形: 圆角 9">
                <a:extLst>
                  <a:ext uri="{FF2B5EF4-FFF2-40B4-BE49-F238E27FC236}">
                    <a16:creationId xmlns:a16="http://schemas.microsoft.com/office/drawing/2014/main" id="{AC6ED351-D6C6-0BB2-8990-516C4AEE4CEF}"/>
                  </a:ext>
                </a:extLst>
              </p:cNvPr>
              <p:cNvSpPr/>
              <p:nvPr/>
            </p:nvSpPr>
            <p:spPr>
              <a:xfrm>
                <a:off x="411521" y="2481502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.  </a:t>
                </a:r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Non-uniform s</a:t>
                </a:r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mpling time</a:t>
                </a:r>
              </a:p>
            </p:txBody>
          </p:sp>
          <p:sp>
            <p:nvSpPr>
              <p:cNvPr id="11" name="矩形: 圆角 10">
                <a:extLst>
                  <a:ext uri="{FF2B5EF4-FFF2-40B4-BE49-F238E27FC236}">
                    <a16:creationId xmlns:a16="http://schemas.microsoft.com/office/drawing/2014/main" id="{01A959CF-284E-B433-7CDD-275475B5796E}"/>
                  </a:ext>
                </a:extLst>
              </p:cNvPr>
              <p:cNvSpPr/>
              <p:nvPr/>
            </p:nvSpPr>
            <p:spPr>
              <a:xfrm>
                <a:off x="422982" y="3529719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</a:t>
                </a:r>
                <a:r>
                  <a:rPr lang="zh-CN" altLang="en-US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. </a:t>
                </a:r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number of features is various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矩形: 圆角 11">
                <a:extLst>
                  <a:ext uri="{FF2B5EF4-FFF2-40B4-BE49-F238E27FC236}">
                    <a16:creationId xmlns:a16="http://schemas.microsoft.com/office/drawing/2014/main" id="{78433609-EB41-A48D-272A-60D9B9091FFE}"/>
                  </a:ext>
                </a:extLst>
              </p:cNvPr>
              <p:cNvSpPr/>
              <p:nvPr/>
            </p:nvSpPr>
            <p:spPr>
              <a:xfrm>
                <a:off x="408972" y="4559310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. Non-stationary time series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" name="矩形: 圆角 12">
                <a:extLst>
                  <a:ext uri="{FF2B5EF4-FFF2-40B4-BE49-F238E27FC236}">
                    <a16:creationId xmlns:a16="http://schemas.microsoft.com/office/drawing/2014/main" id="{F690408D-DF87-317E-12BD-0BF33F3B6426}"/>
                  </a:ext>
                </a:extLst>
              </p:cNvPr>
              <p:cNvSpPr/>
              <p:nvPr/>
            </p:nvSpPr>
            <p:spPr>
              <a:xfrm>
                <a:off x="408972" y="5606998"/>
                <a:ext cx="5040000" cy="612000"/>
              </a:xfrm>
              <a:prstGeom prst="roundRect">
                <a:avLst/>
              </a:prstGeom>
              <a:solidFill>
                <a:srgbClr val="7A649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1"/>
                <a:r>
                  <a:rPr lang="en-US" altLang="zh-CN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D. ‘load’ is the causal factor</a:t>
                </a:r>
                <a:endPara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33F52BEA-5274-5689-5226-84BE227AA141}"/>
              </a:ext>
            </a:extLst>
          </p:cNvPr>
          <p:cNvGrpSpPr/>
          <p:nvPr/>
        </p:nvGrpSpPr>
        <p:grpSpPr>
          <a:xfrm>
            <a:off x="6246770" y="1298034"/>
            <a:ext cx="5483797" cy="4976790"/>
            <a:chOff x="6258231" y="1720729"/>
            <a:chExt cx="5483797" cy="4976790"/>
          </a:xfrm>
        </p:grpSpPr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090F9157-BFE2-D00A-C2F0-2D93EDFB992D}"/>
                </a:ext>
              </a:extLst>
            </p:cNvPr>
            <p:cNvSpPr/>
            <p:nvPr/>
          </p:nvSpPr>
          <p:spPr>
            <a:xfrm>
              <a:off x="6258231" y="1720729"/>
              <a:ext cx="5483797" cy="4976790"/>
            </a:xfrm>
            <a:prstGeom prst="roundRect">
              <a:avLst>
                <a:gd name="adj" fmla="val 6815"/>
              </a:avLst>
            </a:prstGeom>
            <a:noFill/>
            <a:ln w="38100">
              <a:solidFill>
                <a:srgbClr val="51A9C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</a:pPr>
              <a:r>
                <a:rPr lang="en-US" altLang="zh-CN" sz="2800" b="1" dirty="0">
                  <a:solidFill>
                    <a:srgbClr val="51A9C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ata cleansing</a:t>
              </a:r>
            </a:p>
            <a:p>
              <a:pPr algn="ctr">
                <a:lnSpc>
                  <a:spcPct val="150000"/>
                </a:lnSpc>
              </a:pPr>
              <a:endParaRPr lang="en-US" altLang="zh-CN" sz="2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矩形: 圆角 17">
              <a:extLst>
                <a:ext uri="{FF2B5EF4-FFF2-40B4-BE49-F238E27FC236}">
                  <a16:creationId xmlns:a16="http://schemas.microsoft.com/office/drawing/2014/main" id="{C9983D5C-D1D1-01D7-5546-0844B999CFD6}"/>
                </a:ext>
              </a:extLst>
            </p:cNvPr>
            <p:cNvSpPr/>
            <p:nvPr/>
          </p:nvSpPr>
          <p:spPr>
            <a:xfrm>
              <a:off x="6480130" y="2644480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ampling data with 1 sec</a:t>
              </a:r>
            </a:p>
          </p:txBody>
        </p:sp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2D1E74D2-7268-7CF9-C810-5CD4047CF029}"/>
                </a:ext>
              </a:extLst>
            </p:cNvPr>
            <p:cNvSpPr/>
            <p:nvPr/>
          </p:nvSpPr>
          <p:spPr>
            <a:xfrm>
              <a:off x="6480130" y="3426693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Remove the value </a:t>
              </a:r>
              <a:r>
                <a:rPr lang="zh-CN" altLang="en-US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‘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NAN</a:t>
              </a:r>
              <a:r>
                <a:rPr lang="zh-CN" altLang="en-US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’</a:t>
              </a:r>
              <a:endPara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5660F9C3-5B1A-D9D0-450D-B8713AB1459E}"/>
                </a:ext>
              </a:extLst>
            </p:cNvPr>
            <p:cNvSpPr/>
            <p:nvPr/>
          </p:nvSpPr>
          <p:spPr>
            <a:xfrm>
              <a:off x="6480130" y="4209124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um up the corresponding CPU, interface data in one node;</a:t>
              </a:r>
            </a:p>
          </p:txBody>
        </p:sp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2B47BA29-FE43-C65E-3893-EDD618BD4518}"/>
                </a:ext>
              </a:extLst>
            </p:cNvPr>
            <p:cNvSpPr/>
            <p:nvPr/>
          </p:nvSpPr>
          <p:spPr>
            <a:xfrm>
              <a:off x="6480130" y="4989550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GAN models are individually trained</a:t>
              </a:r>
            </a:p>
          </p:txBody>
        </p:sp>
        <p:sp>
          <p:nvSpPr>
            <p:cNvPr id="22" name="矩形: 圆角 21">
              <a:extLst>
                <a:ext uri="{FF2B5EF4-FFF2-40B4-BE49-F238E27FC236}">
                  <a16:creationId xmlns:a16="http://schemas.microsoft.com/office/drawing/2014/main" id="{FC695AB6-3A0C-D799-F3D8-CB5AB8119EB4}"/>
                </a:ext>
              </a:extLst>
            </p:cNvPr>
            <p:cNvSpPr/>
            <p:nvPr/>
          </p:nvSpPr>
          <p:spPr>
            <a:xfrm>
              <a:off x="6480130" y="5769976"/>
              <a:ext cx="5040000" cy="612000"/>
            </a:xfrm>
            <a:prstGeom prst="roundRect">
              <a:avLst/>
            </a:prstGeom>
            <a:solidFill>
              <a:srgbClr val="51A9C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. </a:t>
              </a:r>
              <a:r>
                <a:rPr lang="en-US" altLang="zh-CN" sz="1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he GAN is conditioned by the tendency of the load.</a:t>
              </a:r>
              <a:endPara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13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4AAB35C-266C-0FDA-019F-8608DFC94F08}"/>
              </a:ext>
            </a:extLst>
          </p:cNvPr>
          <p:cNvSpPr txBox="1"/>
          <p:nvPr/>
        </p:nvSpPr>
        <p:spPr>
          <a:xfrm>
            <a:off x="1076960" y="762000"/>
            <a:ext cx="31677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GAN Framework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6AF5D49-77A7-EF6E-B3D7-26DBE0EB1B3B}"/>
              </a:ext>
            </a:extLst>
          </p:cNvPr>
          <p:cNvSpPr txBox="1"/>
          <p:nvPr/>
        </p:nvSpPr>
        <p:spPr>
          <a:xfrm>
            <a:off x="1076960" y="1523345"/>
            <a:ext cx="352552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GAN-GP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7446FE7-89ED-9211-91C4-46551640FE94}"/>
              </a:ext>
            </a:extLst>
          </p:cNvPr>
          <p:cNvSpPr txBox="1"/>
          <p:nvPr/>
        </p:nvSpPr>
        <p:spPr>
          <a:xfrm>
            <a:off x="1076959" y="2261094"/>
            <a:ext cx="100768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" altLang="zh-CN" b="1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Wasserstein GAN + Gradient Penalty</a:t>
            </a:r>
            <a:r>
              <a:rPr lang="en" altLang="zh-CN" b="0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, or </a:t>
            </a:r>
            <a:r>
              <a:rPr lang="en" altLang="zh-CN" b="1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WGAN-GP</a:t>
            </a:r>
            <a:r>
              <a:rPr lang="en" altLang="zh-CN" b="0" i="0" dirty="0">
                <a:solidFill>
                  <a:srgbClr val="212529"/>
                </a:solidFill>
                <a:effectLst/>
                <a:latin typeface="Lato" panose="020F0502020204030203" pitchFamily="34" charset="0"/>
              </a:rPr>
              <a:t>, is a generative adversarial network that uses the Wasserstein loss formulation plus a gradient norm penalty to achieve Lipschitz continuity.</a:t>
            </a:r>
          </a:p>
          <a:p>
            <a:br>
              <a:rPr lang="en" altLang="zh-CN" dirty="0"/>
            </a:b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951C0B8-4837-6247-964C-6E1BA4ABF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2651" y="3699548"/>
            <a:ext cx="8890000" cy="92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60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4AAB35C-266C-0FDA-019F-8608DFC94F08}"/>
              </a:ext>
            </a:extLst>
          </p:cNvPr>
          <p:cNvSpPr txBox="1"/>
          <p:nvPr/>
        </p:nvSpPr>
        <p:spPr>
          <a:xfrm>
            <a:off x="1076960" y="762000"/>
            <a:ext cx="30907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Data generation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FBD4E37-83E4-3F6F-A1B3-969C97B629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9275" y="2500313"/>
            <a:ext cx="6562725" cy="1857375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86AF5D49-77A7-EF6E-B3D7-26DBE0EB1B3B}"/>
              </a:ext>
            </a:extLst>
          </p:cNvPr>
          <p:cNvSpPr txBox="1"/>
          <p:nvPr/>
        </p:nvSpPr>
        <p:spPr>
          <a:xfrm>
            <a:off x="1168400" y="1600500"/>
            <a:ext cx="352552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rain GAN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EB8D934-2C49-36E7-5428-173D4ABD9D30}"/>
              </a:ext>
            </a:extLst>
          </p:cNvPr>
          <p:cNvSpPr txBox="1"/>
          <p:nvPr/>
        </p:nvSpPr>
        <p:spPr>
          <a:xfrm>
            <a:off x="7005319" y="1600500"/>
            <a:ext cx="352552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nerated workload data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C58C679-990A-7A9B-B3DA-D7F45EC3C1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960" y="2580144"/>
            <a:ext cx="4029461" cy="21777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0078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7DD8B7E-A4EB-D641-A7C9-D0A0229A6D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raining the model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72084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6FBDF718-BBD6-9078-2879-99D01DDADA2F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Reorder time series</a:t>
            </a: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7769A04-9696-4C4D-9BC0-CEF1BCFA75C8}"/>
              </a:ext>
            </a:extLst>
          </p:cNvPr>
          <p:cNvGrpSpPr/>
          <p:nvPr/>
        </p:nvGrpSpPr>
        <p:grpSpPr>
          <a:xfrm>
            <a:off x="2824302" y="2858840"/>
            <a:ext cx="6875961" cy="325252"/>
            <a:chOff x="3445704" y="5925359"/>
            <a:chExt cx="8334201" cy="418191"/>
          </a:xfrm>
        </p:grpSpPr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B8E1961C-5F14-7C1C-A9CC-E500D82B741E}"/>
                </a:ext>
              </a:extLst>
            </p:cNvPr>
            <p:cNvSpPr txBox="1"/>
            <p:nvPr/>
          </p:nvSpPr>
          <p:spPr>
            <a:xfrm>
              <a:off x="3445704" y="592535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Short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6C8EEC0-1DF5-E5B5-3A8A-B0D3E5DAAA09}"/>
                </a:ext>
              </a:extLst>
            </p:cNvPr>
            <p:cNvSpPr txBox="1"/>
            <p:nvPr/>
          </p:nvSpPr>
          <p:spPr>
            <a:xfrm>
              <a:off x="6426564" y="592535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idterm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FD229175-15D5-E315-05D3-3FF4A461E345}"/>
                </a:ext>
              </a:extLst>
            </p:cNvPr>
            <p:cNvSpPr txBox="1"/>
            <p:nvPr/>
          </p:nvSpPr>
          <p:spPr>
            <a:xfrm>
              <a:off x="9463468" y="5925359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Longter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2F0D95F5-DCA4-6240-B810-C0962E08B7B7}"/>
              </a:ext>
            </a:extLst>
          </p:cNvPr>
          <p:cNvGrpSpPr/>
          <p:nvPr/>
        </p:nvGrpSpPr>
        <p:grpSpPr>
          <a:xfrm>
            <a:off x="715200" y="5482973"/>
            <a:ext cx="11062547" cy="482399"/>
            <a:chOff x="468452" y="3539478"/>
            <a:chExt cx="14396731" cy="502086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5E3464A6-7D1D-8182-14A4-376D6F0A9981}"/>
                </a:ext>
              </a:extLst>
            </p:cNvPr>
            <p:cNvSpPr txBox="1"/>
            <p:nvPr/>
          </p:nvSpPr>
          <p:spPr>
            <a:xfrm>
              <a:off x="468452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free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403AF2C-EB24-588F-98C4-06A7D4CA28DF}"/>
                </a:ext>
              </a:extLst>
            </p:cNvPr>
            <p:cNvSpPr txBox="1"/>
            <p:nvPr/>
          </p:nvSpPr>
          <p:spPr>
            <a:xfrm>
              <a:off x="3465256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Memory used</a:t>
              </a:r>
              <a:endPara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CB8CD5D7-04D6-7CB7-2485-61A9AC7C0973}"/>
                </a:ext>
              </a:extLst>
            </p:cNvPr>
            <p:cNvSpPr txBox="1"/>
            <p:nvPr/>
          </p:nvSpPr>
          <p:spPr>
            <a:xfrm>
              <a:off x="6446116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user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EED38548-9043-F5A7-ACAD-4074B093C3B4}"/>
                </a:ext>
              </a:extLst>
            </p:cNvPr>
            <p:cNvSpPr txBox="1"/>
            <p:nvPr/>
          </p:nvSpPr>
          <p:spPr>
            <a:xfrm>
              <a:off x="9483020" y="3539478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CPUsystem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0A50D294-438E-1046-A279-E14774422B3B}"/>
                </a:ext>
              </a:extLst>
            </p:cNvPr>
            <p:cNvSpPr txBox="1"/>
            <p:nvPr/>
          </p:nvSpPr>
          <p:spPr>
            <a:xfrm>
              <a:off x="12548746" y="3623373"/>
              <a:ext cx="2316437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PU idle</a:t>
              </a:r>
            </a:p>
          </p:txBody>
        </p:sp>
      </p:grpSp>
      <p:pic>
        <p:nvPicPr>
          <p:cNvPr id="15" name="图片 14">
            <a:extLst>
              <a:ext uri="{FF2B5EF4-FFF2-40B4-BE49-F238E27FC236}">
                <a16:creationId xmlns:a16="http://schemas.microsoft.com/office/drawing/2014/main" id="{8546C92E-AFCA-84B7-D68D-7809255E53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320" y="3963228"/>
            <a:ext cx="2245744" cy="1532809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8595624-D3FF-9225-1714-03163F105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9978" y="3941668"/>
            <a:ext cx="2252187" cy="1575927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C0ECB3F7-7368-E168-4D54-F430B57333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7695" y="4018903"/>
            <a:ext cx="2340231" cy="1520252"/>
          </a:xfrm>
          <a:prstGeom prst="rect">
            <a:avLst/>
          </a:prstGeom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404CC39C-6EE9-F75F-259A-9D9FF2411D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6789" y="4033994"/>
            <a:ext cx="2294710" cy="1490071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60237786-2CE2-EFEF-0795-565895D352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0409" y="4033994"/>
            <a:ext cx="2294710" cy="1448979"/>
          </a:xfrm>
          <a:prstGeom prst="rect">
            <a:avLst/>
          </a:prstGeom>
        </p:spPr>
      </p:pic>
      <p:pic>
        <p:nvPicPr>
          <p:cNvPr id="32" name="图片 31">
            <a:extLst>
              <a:ext uri="{FF2B5EF4-FFF2-40B4-BE49-F238E27FC236}">
                <a16:creationId xmlns:a16="http://schemas.microsoft.com/office/drawing/2014/main" id="{84EA9972-E78A-B609-2772-64189B9D3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2327" y="1474494"/>
            <a:ext cx="2329026" cy="1520252"/>
          </a:xfrm>
          <a:prstGeom prst="rect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:a16="http://schemas.microsoft.com/office/drawing/2014/main" id="{B6A57B69-3B49-BC6F-1DB8-859AC05BE4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4221" y="1501214"/>
            <a:ext cx="2316864" cy="152025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:a16="http://schemas.microsoft.com/office/drawing/2014/main" id="{713BF487-B79A-0FDC-5595-DD24D8C65F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86266" y="1464454"/>
            <a:ext cx="2316864" cy="152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81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文本框 24">
            <a:extLst>
              <a:ext uri="{FF2B5EF4-FFF2-40B4-BE49-F238E27FC236}">
                <a16:creationId xmlns:a16="http://schemas.microsoft.com/office/drawing/2014/main" id="{EDFD328B-1AC3-2119-9B1E-73FCF5B9832B}"/>
              </a:ext>
            </a:extLst>
          </p:cNvPr>
          <p:cNvSpPr txBox="1"/>
          <p:nvPr/>
        </p:nvSpPr>
        <p:spPr>
          <a:xfrm>
            <a:off x="468452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oct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C52A0387-75CC-FAE9-0259-F82DB4B7C20B}"/>
              </a:ext>
            </a:extLst>
          </p:cNvPr>
          <p:cNvSpPr txBox="1"/>
          <p:nvPr/>
        </p:nvSpPr>
        <p:spPr>
          <a:xfrm>
            <a:off x="3465256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oct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250D4ACB-66D4-6B05-5500-5788A468CA27}"/>
              </a:ext>
            </a:extLst>
          </p:cNvPr>
          <p:cNvSpPr txBox="1"/>
          <p:nvPr/>
        </p:nvSpPr>
        <p:spPr>
          <a:xfrm>
            <a:off x="6446116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pack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1E98329-0656-0CE6-1238-9186BCA3F6C4}"/>
              </a:ext>
            </a:extLst>
          </p:cNvPr>
          <p:cNvSpPr txBox="1"/>
          <p:nvPr/>
        </p:nvSpPr>
        <p:spPr>
          <a:xfrm>
            <a:off x="9483020" y="3658350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packet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5CCD74B-F51F-0D81-7B43-D7E36F96DD7E}"/>
              </a:ext>
            </a:extLst>
          </p:cNvPr>
          <p:cNvSpPr txBox="1"/>
          <p:nvPr/>
        </p:nvSpPr>
        <p:spPr>
          <a:xfrm>
            <a:off x="448900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error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847DC6DD-7AF0-C153-E4AB-B468461A202D}"/>
              </a:ext>
            </a:extLst>
          </p:cNvPr>
          <p:cNvSpPr txBox="1"/>
          <p:nvPr/>
        </p:nvSpPr>
        <p:spPr>
          <a:xfrm>
            <a:off x="3445704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errors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3ABCB09-F48E-05D5-46EB-21B402697A0C}"/>
              </a:ext>
            </a:extLst>
          </p:cNvPr>
          <p:cNvSpPr txBox="1"/>
          <p:nvPr/>
        </p:nvSpPr>
        <p:spPr>
          <a:xfrm>
            <a:off x="6426564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dropped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E860999-4D49-1223-7C4D-D3F781329015}"/>
              </a:ext>
            </a:extLst>
          </p:cNvPr>
          <p:cNvSpPr txBox="1"/>
          <p:nvPr/>
        </p:nvSpPr>
        <p:spPr>
          <a:xfrm>
            <a:off x="9463468" y="6044231"/>
            <a:ext cx="231643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f dropped 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x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61B627E-00B0-FB5A-AAF3-8E975690819C}"/>
              </a:ext>
            </a:extLst>
          </p:cNvPr>
          <p:cNvSpPr txBox="1"/>
          <p:nvPr/>
        </p:nvSpPr>
        <p:spPr>
          <a:xfrm>
            <a:off x="4505363" y="1180353"/>
            <a:ext cx="352552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Generate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etwork data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0C1F0B0-A903-F3F8-C747-1087BE988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543" y="1990901"/>
            <a:ext cx="2712607" cy="1755988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F35AA05-8D5F-78F0-2631-8D62A2BA74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8552" y="2035912"/>
            <a:ext cx="2719065" cy="174396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D0059D8-C851-0462-BBCF-8A54136BF9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8123" y="2023215"/>
            <a:ext cx="2712607" cy="175598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DCABBD8-A551-EA62-0CAD-1D89981CE7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6272" y="2020041"/>
            <a:ext cx="2712607" cy="176200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79856C1-FC88-5342-E01F-15B97FD8E4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675" y="4368175"/>
            <a:ext cx="2766769" cy="1725605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3FB1E6B4-44D6-3383-9E9F-030387A4DE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9688" y="4348797"/>
            <a:ext cx="2719065" cy="1713891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F6E5ADE0-15E0-AAF5-8AEC-BB5828AE5B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09676" y="4375452"/>
            <a:ext cx="2766769" cy="1752037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1C5A44F6-4EE9-C554-2201-F4D80392FA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15797" y="4326947"/>
            <a:ext cx="2789660" cy="1782704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38C586B7-3602-A869-EB8F-01BBDE91C7F0}"/>
              </a:ext>
            </a:extLst>
          </p:cNvPr>
          <p:cNvSpPr/>
          <p:nvPr/>
        </p:nvSpPr>
        <p:spPr>
          <a:xfrm>
            <a:off x="612203" y="0"/>
            <a:ext cx="11269134" cy="885237"/>
          </a:xfrm>
          <a:prstGeom prst="rect">
            <a:avLst/>
          </a:prstGeom>
        </p:spPr>
        <p:txBody>
          <a:bodyPr vert="horz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altLang="zh-CN" sz="2400" b="1" dirty="0">
                <a:solidFill>
                  <a:srgbClr val="002060"/>
                </a:solidFill>
                <a:latin typeface="+mj-ea"/>
                <a:ea typeface="+mj-ea"/>
                <a:cs typeface="+mj-cs"/>
              </a:rPr>
              <a:t>Network generation</a:t>
            </a:r>
          </a:p>
        </p:txBody>
      </p:sp>
    </p:spTree>
    <p:extLst>
      <p:ext uri="{BB962C8B-B14F-4D97-AF65-F5344CB8AC3E}">
        <p14:creationId xmlns:p14="http://schemas.microsoft.com/office/powerpoint/2010/main" val="606749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23d56bc3-c030-4c0c-810d-6c60af5f8109"/>
  <p:tag name="COMMONDATA" val="eyJoZGlkIjoiNGVlNmI3MTJmNmJjOWYyM2E4ZTIxMjAyNTcwOThjZTg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46</TotalTime>
  <Words>508</Words>
  <Application>Microsoft Office PowerPoint</Application>
  <PresentationFormat>宽屏</PresentationFormat>
  <Paragraphs>205</Paragraphs>
  <Slides>1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6" baseType="lpstr">
      <vt:lpstr>等线</vt:lpstr>
      <vt:lpstr>微软雅黑</vt:lpstr>
      <vt:lpstr>微软雅黑 Light</vt:lpstr>
      <vt:lpstr>Arial</vt:lpstr>
      <vt:lpstr>Bahnschrift Condensed</vt:lpstr>
      <vt:lpstr>Lato</vt:lpstr>
      <vt:lpstr>2_Office 主题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raining the model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Generate workload data by conditions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空白演示</dc:title>
  <dc:creator>Surface</dc:creator>
  <cp:lastModifiedBy>Administrator</cp:lastModifiedBy>
  <cp:revision>198</cp:revision>
  <dcterms:created xsi:type="dcterms:W3CDTF">2019-06-19T02:08:00Z</dcterms:created>
  <dcterms:modified xsi:type="dcterms:W3CDTF">2022-12-01T07:0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358</vt:lpwstr>
  </property>
  <property fmtid="{D5CDD505-2E9C-101B-9397-08002B2CF9AE}" pid="3" name="ICV">
    <vt:lpwstr>24345192F8544A13970C794AA120144A</vt:lpwstr>
  </property>
</Properties>
</file>